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2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3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4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5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6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7.xml" ContentType="application/vnd.openxmlformats-officedocument.presentationml.notesSlid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24"/>
  </p:notesMasterIdLst>
  <p:sldIdLst>
    <p:sldId id="257" r:id="rId2"/>
    <p:sldId id="258" r:id="rId3"/>
    <p:sldId id="269" r:id="rId4"/>
    <p:sldId id="260" r:id="rId5"/>
    <p:sldId id="263" r:id="rId6"/>
    <p:sldId id="264" r:id="rId7"/>
    <p:sldId id="272" r:id="rId8"/>
    <p:sldId id="273" r:id="rId9"/>
    <p:sldId id="266" r:id="rId10"/>
    <p:sldId id="267" r:id="rId11"/>
    <p:sldId id="275" r:id="rId12"/>
    <p:sldId id="274" r:id="rId13"/>
    <p:sldId id="276" r:id="rId14"/>
    <p:sldId id="277" r:id="rId15"/>
    <p:sldId id="278" r:id="rId16"/>
    <p:sldId id="279" r:id="rId17"/>
    <p:sldId id="280" r:id="rId18"/>
    <p:sldId id="282" r:id="rId19"/>
    <p:sldId id="281" r:id="rId20"/>
    <p:sldId id="268" r:id="rId21"/>
    <p:sldId id="283" r:id="rId22"/>
    <p:sldId id="261" r:id="rId23"/>
  </p:sldIdLst>
  <p:sldSz cx="9144000" cy="6858000" type="screen4x3"/>
  <p:notesSz cx="6858000" cy="9144000"/>
  <p:custDataLst>
    <p:tags r:id="rId25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663300"/>
    <a:srgbClr val="FF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4" d="100"/>
          <a:sy n="104" d="100"/>
        </p:scale>
        <p:origin x="1824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33E895-86B4-46AB-ACD4-C3C20751C212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AE0E20-303F-461F-8602-976D1F22D260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49016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/>
              <a:t>SMOTE : </a:t>
            </a:r>
            <a:r>
              <a:rPr lang="ko-KR" altLang="en-US" dirty="0"/>
              <a:t>기존 데이터셋보다 점수 올라감</a:t>
            </a:r>
          </a:p>
          <a:p>
            <a:r>
              <a:rPr lang="en-US" altLang="ko-KR" dirty="0"/>
              <a:t>TOMEK : </a:t>
            </a:r>
            <a:r>
              <a:rPr lang="ko-KR" altLang="en-US" dirty="0"/>
              <a:t>기존 데이터셋보다 점수 올라감</a:t>
            </a:r>
          </a:p>
          <a:p>
            <a:r>
              <a:rPr lang="en-US" altLang="ko-KR" dirty="0" err="1"/>
              <a:t>EasyEnsemble</a:t>
            </a:r>
            <a:r>
              <a:rPr lang="en-US" altLang="ko-KR" dirty="0"/>
              <a:t> : </a:t>
            </a:r>
            <a:r>
              <a:rPr lang="ko-KR" altLang="en-US" dirty="0"/>
              <a:t>기존 데이터셋보다 점수 </a:t>
            </a:r>
            <a:r>
              <a:rPr lang="ko-KR" altLang="en-US" dirty="0" err="1"/>
              <a:t>내려감</a:t>
            </a:r>
            <a:endParaRPr lang="ko-KR" altLang="en-US" dirty="0"/>
          </a:p>
          <a:p>
            <a:r>
              <a:rPr lang="en-US" altLang="ko-KR" dirty="0" err="1"/>
              <a:t>BalanceCascade</a:t>
            </a:r>
            <a:r>
              <a:rPr lang="en-US" altLang="ko-KR" dirty="0"/>
              <a:t> : </a:t>
            </a:r>
            <a:r>
              <a:rPr lang="ko-KR" altLang="en-US" dirty="0" err="1"/>
              <a:t>메모리에러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498641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떄로는</a:t>
            </a:r>
            <a:r>
              <a:rPr lang="ko-KR" altLang="en-US" dirty="0"/>
              <a:t> </a:t>
            </a:r>
            <a:r>
              <a:rPr lang="ko-KR" altLang="en-US" dirty="0" err="1"/>
              <a:t>임벨하지</a:t>
            </a:r>
            <a:r>
              <a:rPr lang="ko-KR" altLang="en-US" dirty="0"/>
              <a:t> 않은 경우에 더 높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539418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앞선 </a:t>
            </a:r>
            <a:r>
              <a:rPr lang="en-US" altLang="ko-KR" dirty="0"/>
              <a:t>pred12</a:t>
            </a:r>
            <a:r>
              <a:rPr lang="ko-KR" altLang="en-US" dirty="0"/>
              <a:t>만의 결과보다 낮음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61031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앞선 </a:t>
            </a:r>
            <a:r>
              <a:rPr lang="en-US" altLang="ko-KR" dirty="0"/>
              <a:t>pred12</a:t>
            </a:r>
            <a:r>
              <a:rPr lang="ko-KR" altLang="en-US" dirty="0"/>
              <a:t>만의 결과보다 낮음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087683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앞선 </a:t>
            </a:r>
            <a:r>
              <a:rPr lang="en-US" altLang="ko-KR" dirty="0"/>
              <a:t>pred12</a:t>
            </a:r>
            <a:r>
              <a:rPr lang="ko-KR" altLang="en-US" dirty="0"/>
              <a:t>만의 결과보다 낮음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865791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앞선 </a:t>
            </a:r>
            <a:r>
              <a:rPr lang="en-US" altLang="ko-KR" dirty="0"/>
              <a:t>pred12</a:t>
            </a:r>
            <a:r>
              <a:rPr lang="ko-KR" altLang="en-US" dirty="0"/>
              <a:t>만의 결과보다 낮음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758814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앞선 </a:t>
            </a:r>
            <a:r>
              <a:rPr lang="en-US" altLang="ko-KR" dirty="0"/>
              <a:t>pred12</a:t>
            </a:r>
            <a:r>
              <a:rPr lang="ko-KR" altLang="en-US" dirty="0"/>
              <a:t>만의 결과보다 낮음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AE0E20-303F-461F-8602-976D1F22D260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95131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0161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36108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973373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8187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93115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72268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458786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95411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230387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873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21026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033FE7-92A8-4FE6-816B-6C202DF03FFA}" type="datetimeFigureOut">
              <a:rPr lang="ko-KR" altLang="en-US" smtClean="0"/>
              <a:t>19-06-03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C0D669-746F-492F-B488-07B7A3624F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81896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2.png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Relationship Id="rId14" Type="http://schemas.microsoft.com/office/2007/relationships/hdphoto" Target="../media/hdphoto2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image" Target="../media/image4.png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image" Target="../media/image1.emf"/><Relationship Id="rId2" Type="http://schemas.openxmlformats.org/officeDocument/2006/relationships/tags" Target="../tags/tag80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4.xml"/><Relationship Id="rId11" Type="http://schemas.openxmlformats.org/officeDocument/2006/relationships/oleObject" Target="../embeddings/oleObject3.bin"/><Relationship Id="rId5" Type="http://schemas.openxmlformats.org/officeDocument/2006/relationships/tags" Target="../tags/tag83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microsoft.com/office/2007/relationships/hdphoto" Target="../media/hdphoto3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image" Target="../media/image4.png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image" Target="../media/image1.emf"/><Relationship Id="rId2" Type="http://schemas.openxmlformats.org/officeDocument/2006/relationships/tags" Target="../tags/tag88.xml"/><Relationship Id="rId16" Type="http://schemas.openxmlformats.org/officeDocument/2006/relationships/image" Target="../media/image9.png"/><Relationship Id="rId1" Type="http://schemas.openxmlformats.org/officeDocument/2006/relationships/vmlDrawing" Target="../drawings/vmlDrawing11.vml"/><Relationship Id="rId6" Type="http://schemas.openxmlformats.org/officeDocument/2006/relationships/tags" Target="../tags/tag92.xml"/><Relationship Id="rId11" Type="http://schemas.openxmlformats.org/officeDocument/2006/relationships/oleObject" Target="../embeddings/oleObject3.bin"/><Relationship Id="rId5" Type="http://schemas.openxmlformats.org/officeDocument/2006/relationships/tags" Target="../tags/tag91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microsoft.com/office/2007/relationships/hdphoto" Target="../media/hdphoto3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image" Target="../media/image4.png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1.emf"/><Relationship Id="rId2" Type="http://schemas.openxmlformats.org/officeDocument/2006/relationships/tags" Target="../tags/tag96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0.xml"/><Relationship Id="rId11" Type="http://schemas.openxmlformats.org/officeDocument/2006/relationships/oleObject" Target="../embeddings/oleObject3.bin"/><Relationship Id="rId5" Type="http://schemas.openxmlformats.org/officeDocument/2006/relationships/tags" Target="../tags/tag99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microsoft.com/office/2007/relationships/hdphoto" Target="../media/hdphoto3.wdp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image" Target="../media/image4.png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image" Target="../media/image1.emf"/><Relationship Id="rId2" Type="http://schemas.openxmlformats.org/officeDocument/2006/relationships/tags" Target="../tags/tag10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8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07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microsoft.com/office/2007/relationships/hdphoto" Target="../media/hdphoto3.wdp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oleObject" Target="../embeddings/oleObject3.bin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112.xml"/><Relationship Id="rId16" Type="http://schemas.microsoft.com/office/2007/relationships/hdphoto" Target="../media/hdphoto3.wdp"/><Relationship Id="rId1" Type="http://schemas.openxmlformats.org/officeDocument/2006/relationships/vmlDrawing" Target="../drawings/vmlDrawing14.vml"/><Relationship Id="rId6" Type="http://schemas.openxmlformats.org/officeDocument/2006/relationships/tags" Target="../tags/tag116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15.xml"/><Relationship Id="rId15" Type="http://schemas.openxmlformats.org/officeDocument/2006/relationships/image" Target="../media/image4.png"/><Relationship Id="rId10" Type="http://schemas.openxmlformats.org/officeDocument/2006/relationships/tags" Target="../tags/tag120.xml"/><Relationship Id="rId4" Type="http://schemas.openxmlformats.org/officeDocument/2006/relationships/tags" Target="../tags/tag114.xml"/><Relationship Id="rId9" Type="http://schemas.openxmlformats.org/officeDocument/2006/relationships/tags" Target="../tags/tag119.xml"/><Relationship Id="rId1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image" Target="../media/image1.emf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21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25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124.xml"/><Relationship Id="rId15" Type="http://schemas.microsoft.com/office/2007/relationships/hdphoto" Target="../media/hdphoto3.wdp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image" Target="../media/image1.emf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29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33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132.xml"/><Relationship Id="rId15" Type="http://schemas.microsoft.com/office/2007/relationships/hdphoto" Target="../media/hdphoto3.wdp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image" Target="../media/image1.emf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37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41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140.xml"/><Relationship Id="rId15" Type="http://schemas.microsoft.com/office/2007/relationships/hdphoto" Target="../media/hdphoto3.wdp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13" Type="http://schemas.openxmlformats.org/officeDocument/2006/relationships/notesSlide" Target="../notesSlides/notesSlide6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12" Type="http://schemas.openxmlformats.org/officeDocument/2006/relationships/slideLayout" Target="../slideLayouts/slideLayout7.xml"/><Relationship Id="rId17" Type="http://schemas.microsoft.com/office/2007/relationships/hdphoto" Target="../media/hdphoto3.wdp"/><Relationship Id="rId2" Type="http://schemas.openxmlformats.org/officeDocument/2006/relationships/tags" Target="../tags/tag145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18.vml"/><Relationship Id="rId6" Type="http://schemas.openxmlformats.org/officeDocument/2006/relationships/tags" Target="../tags/tag149.xml"/><Relationship Id="rId11" Type="http://schemas.openxmlformats.org/officeDocument/2006/relationships/tags" Target="../tags/tag154.xml"/><Relationship Id="rId5" Type="http://schemas.openxmlformats.org/officeDocument/2006/relationships/tags" Target="../tags/tag148.xml"/><Relationship Id="rId15" Type="http://schemas.openxmlformats.org/officeDocument/2006/relationships/image" Target="../media/image1.emf"/><Relationship Id="rId10" Type="http://schemas.openxmlformats.org/officeDocument/2006/relationships/tags" Target="../tags/tag153.xml"/><Relationship Id="rId4" Type="http://schemas.openxmlformats.org/officeDocument/2006/relationships/tags" Target="../tags/tag147.xml"/><Relationship Id="rId9" Type="http://schemas.openxmlformats.org/officeDocument/2006/relationships/tags" Target="../tags/tag152.xml"/><Relationship Id="rId14" Type="http://schemas.openxmlformats.org/officeDocument/2006/relationships/oleObject" Target="../embeddings/oleObject3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image" Target="../media/image1.emf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55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59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158.xml"/><Relationship Id="rId15" Type="http://schemas.microsoft.com/office/2007/relationships/hdphoto" Target="../media/hdphoto3.wdp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oleObject" Target="../embeddings/oleObject2.bin"/><Relationship Id="rId17" Type="http://schemas.microsoft.com/office/2007/relationships/hdphoto" Target="../media/hdphoto4.wdp"/><Relationship Id="rId2" Type="http://schemas.openxmlformats.org/officeDocument/2006/relationships/tags" Target="../tags/tag8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1.xml"/><Relationship Id="rId15" Type="http://schemas.microsoft.com/office/2007/relationships/hdphoto" Target="../media/hdphoto3.wdp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13" Type="http://schemas.openxmlformats.org/officeDocument/2006/relationships/tags" Target="../tags/tag174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164.xml"/><Relationship Id="rId21" Type="http://schemas.openxmlformats.org/officeDocument/2006/relationships/image" Target="../media/image4.png"/><Relationship Id="rId7" Type="http://schemas.openxmlformats.org/officeDocument/2006/relationships/tags" Target="../tags/tag168.xml"/><Relationship Id="rId12" Type="http://schemas.openxmlformats.org/officeDocument/2006/relationships/tags" Target="../tags/tag173.xml"/><Relationship Id="rId17" Type="http://schemas.openxmlformats.org/officeDocument/2006/relationships/tags" Target="../tags/tag178.xml"/><Relationship Id="rId2" Type="http://schemas.openxmlformats.org/officeDocument/2006/relationships/tags" Target="../tags/tag163.xml"/><Relationship Id="rId16" Type="http://schemas.openxmlformats.org/officeDocument/2006/relationships/tags" Target="../tags/tag177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20.vml"/><Relationship Id="rId6" Type="http://schemas.openxmlformats.org/officeDocument/2006/relationships/tags" Target="../tags/tag167.xml"/><Relationship Id="rId11" Type="http://schemas.openxmlformats.org/officeDocument/2006/relationships/tags" Target="../tags/tag172.xml"/><Relationship Id="rId24" Type="http://schemas.microsoft.com/office/2007/relationships/hdphoto" Target="../media/hdphoto5.wdp"/><Relationship Id="rId5" Type="http://schemas.openxmlformats.org/officeDocument/2006/relationships/tags" Target="../tags/tag166.xml"/><Relationship Id="rId15" Type="http://schemas.openxmlformats.org/officeDocument/2006/relationships/tags" Target="../tags/tag176.xml"/><Relationship Id="rId23" Type="http://schemas.openxmlformats.org/officeDocument/2006/relationships/image" Target="../media/image6.png"/><Relationship Id="rId10" Type="http://schemas.openxmlformats.org/officeDocument/2006/relationships/tags" Target="../tags/tag171.xml"/><Relationship Id="rId19" Type="http://schemas.openxmlformats.org/officeDocument/2006/relationships/oleObject" Target="../embeddings/oleObject3.bin"/><Relationship Id="rId4" Type="http://schemas.openxmlformats.org/officeDocument/2006/relationships/tags" Target="../tags/tag165.xml"/><Relationship Id="rId9" Type="http://schemas.openxmlformats.org/officeDocument/2006/relationships/tags" Target="../tags/tag170.xml"/><Relationship Id="rId14" Type="http://schemas.openxmlformats.org/officeDocument/2006/relationships/tags" Target="../tags/tag175.xml"/><Relationship Id="rId22" Type="http://schemas.microsoft.com/office/2007/relationships/hdphoto" Target="../media/hdphoto3.wdp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13" Type="http://schemas.openxmlformats.org/officeDocument/2006/relationships/image" Target="../media/image1.emf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12" Type="http://schemas.openxmlformats.org/officeDocument/2006/relationships/oleObject" Target="../embeddings/oleObject3.bin"/><Relationship Id="rId17" Type="http://schemas.microsoft.com/office/2007/relationships/hdphoto" Target="../media/hdphoto5.wdp"/><Relationship Id="rId2" Type="http://schemas.openxmlformats.org/officeDocument/2006/relationships/tags" Target="../tags/tag179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21.vml"/><Relationship Id="rId6" Type="http://schemas.openxmlformats.org/officeDocument/2006/relationships/tags" Target="../tags/tag183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82.xml"/><Relationship Id="rId15" Type="http://schemas.microsoft.com/office/2007/relationships/hdphoto" Target="../media/hdphoto3.wdp"/><Relationship Id="rId10" Type="http://schemas.openxmlformats.org/officeDocument/2006/relationships/tags" Target="../tags/tag187.xml"/><Relationship Id="rId4" Type="http://schemas.openxmlformats.org/officeDocument/2006/relationships/tags" Target="../tags/tag181.xml"/><Relationship Id="rId9" Type="http://schemas.openxmlformats.org/officeDocument/2006/relationships/tags" Target="../tags/tag186.xml"/><Relationship Id="rId1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89.xml"/><Relationship Id="rId7" Type="http://schemas.openxmlformats.org/officeDocument/2006/relationships/image" Target="../media/image1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90.xml"/><Relationship Id="rId9" Type="http://schemas.microsoft.com/office/2007/relationships/hdphoto" Target="../media/hdphoto6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1.emf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oleObject" Target="../embeddings/oleObject3.bin"/><Relationship Id="rId17" Type="http://schemas.microsoft.com/office/2007/relationships/hdphoto" Target="../media/hdphoto5.wdp"/><Relationship Id="rId2" Type="http://schemas.openxmlformats.org/officeDocument/2006/relationships/tags" Target="../tags/tag17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3.vml"/><Relationship Id="rId6" Type="http://schemas.openxmlformats.org/officeDocument/2006/relationships/tags" Target="../tags/tag21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0.xml"/><Relationship Id="rId15" Type="http://schemas.microsoft.com/office/2007/relationships/hdphoto" Target="../media/hdphoto3.wdp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image" Target="../media/image1.emf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oleObject" Target="../embeddings/oleObject3.bin"/><Relationship Id="rId17" Type="http://schemas.microsoft.com/office/2007/relationships/hdphoto" Target="../media/hdphoto5.wdp"/><Relationship Id="rId2" Type="http://schemas.openxmlformats.org/officeDocument/2006/relationships/tags" Target="../tags/tag26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9.xml"/><Relationship Id="rId15" Type="http://schemas.microsoft.com/office/2007/relationships/hdphoto" Target="../media/hdphoto3.wdp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oleObject" Target="../embeddings/oleObject3.bin"/><Relationship Id="rId18" Type="http://schemas.microsoft.com/office/2007/relationships/hdphoto" Target="../media/hdphoto5.wdp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slideLayout" Target="../slideLayouts/slideLayout7.xml"/><Relationship Id="rId17" Type="http://schemas.openxmlformats.org/officeDocument/2006/relationships/image" Target="../media/image6.png"/><Relationship Id="rId2" Type="http://schemas.openxmlformats.org/officeDocument/2006/relationships/tags" Target="../tags/tag35.xml"/><Relationship Id="rId16" Type="http://schemas.microsoft.com/office/2007/relationships/hdphoto" Target="../media/hdphoto3.wdp"/><Relationship Id="rId1" Type="http://schemas.openxmlformats.org/officeDocument/2006/relationships/vmlDrawing" Target="../drawings/vmlDrawing5.v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image" Target="../media/image4.png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image" Target="../media/image1.emf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oleObject" Target="../embeddings/oleObject3.bin"/><Relationship Id="rId17" Type="http://schemas.microsoft.com/office/2007/relationships/hdphoto" Target="../media/hdphoto5.wdp"/><Relationship Id="rId2" Type="http://schemas.openxmlformats.org/officeDocument/2006/relationships/tags" Target="../tags/tag45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6.vml"/><Relationship Id="rId6" Type="http://schemas.openxmlformats.org/officeDocument/2006/relationships/tags" Target="../tags/tag49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48.xml"/><Relationship Id="rId15" Type="http://schemas.microsoft.com/office/2007/relationships/hdphoto" Target="../media/hdphoto3.wdp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image" Target="../media/image1.emf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oleObject" Target="../embeddings/oleObject3.bin"/><Relationship Id="rId2" Type="http://schemas.openxmlformats.org/officeDocument/2006/relationships/tags" Target="../tags/tag54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7.vml"/><Relationship Id="rId6" Type="http://schemas.openxmlformats.org/officeDocument/2006/relationships/tags" Target="../tags/tag58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57.xml"/><Relationship Id="rId15" Type="http://schemas.microsoft.com/office/2007/relationships/hdphoto" Target="../media/hdphoto3.wdp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image" Target="../media/image4.png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image" Target="../media/image1.emf"/><Relationship Id="rId2" Type="http://schemas.openxmlformats.org/officeDocument/2006/relationships/tags" Target="../tags/tag63.xml"/><Relationship Id="rId1" Type="http://schemas.openxmlformats.org/officeDocument/2006/relationships/vmlDrawing" Target="../drawings/vmlDrawing8.vml"/><Relationship Id="rId6" Type="http://schemas.openxmlformats.org/officeDocument/2006/relationships/tags" Target="../tags/tag67.xml"/><Relationship Id="rId11" Type="http://schemas.openxmlformats.org/officeDocument/2006/relationships/oleObject" Target="../embeddings/oleObject3.bin"/><Relationship Id="rId5" Type="http://schemas.openxmlformats.org/officeDocument/2006/relationships/tags" Target="../tags/tag66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microsoft.com/office/2007/relationships/hdphoto" Target="../media/hdphoto3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oleObject" Target="../embeddings/oleObject3.bin"/><Relationship Id="rId18" Type="http://schemas.microsoft.com/office/2007/relationships/hdphoto" Target="../media/hdphoto5.wdp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6.png"/><Relationship Id="rId2" Type="http://schemas.openxmlformats.org/officeDocument/2006/relationships/tags" Target="../tags/tag71.xml"/><Relationship Id="rId16" Type="http://schemas.microsoft.com/office/2007/relationships/hdphoto" Target="../media/hdphoto3.wdp"/><Relationship Id="rId1" Type="http://schemas.openxmlformats.org/officeDocument/2006/relationships/vmlDrawing" Target="../drawings/vmlDrawing9.vml"/><Relationship Id="rId6" Type="http://schemas.openxmlformats.org/officeDocument/2006/relationships/tags" Target="../tags/tag75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74.xml"/><Relationship Id="rId15" Type="http://schemas.openxmlformats.org/officeDocument/2006/relationships/image" Target="../media/image4.png"/><Relationship Id="rId10" Type="http://schemas.openxmlformats.org/officeDocument/2006/relationships/tags" Target="../tags/tag79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584110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TextBox 5"/>
          <p:cNvSpPr txBox="1"/>
          <p:nvPr>
            <p:custDataLst>
              <p:tags r:id="rId4"/>
            </p:custDataLst>
          </p:nvPr>
        </p:nvSpPr>
        <p:spPr>
          <a:xfrm>
            <a:off x="3816819" y="2713447"/>
            <a:ext cx="15856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유</a:t>
            </a:r>
            <a:r>
              <a:rPr lang="en-US" altLang="ko-KR" sz="900" dirty="0">
                <a:latin typeface="나눔스퀘어라운드 ExtraBold" pitchFamily="50" charset="-127"/>
                <a:ea typeface="나눔스퀘어라운드 ExtraBold" pitchFamily="50" charset="-127"/>
              </a:rPr>
              <a:t>(</a:t>
            </a:r>
            <a:r>
              <a:rPr lang="ko-KR" altLang="en-US" sz="900" dirty="0">
                <a:latin typeface="나눔스퀘어라운드 ExtraBold" pitchFamily="50" charset="-127"/>
                <a:ea typeface="나눔스퀘어라운드 ExtraBold" pitchFamily="50" charset="-127"/>
              </a:rPr>
              <a:t>나</a:t>
            </a:r>
            <a:r>
              <a:rPr lang="en-US" altLang="ko-KR" sz="900" dirty="0"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종</a:t>
            </a:r>
            <a:r>
              <a:rPr lang="en-US" altLang="ko-KR" sz="900" dirty="0">
                <a:latin typeface="나눔스퀘어라운드 ExtraBold" pitchFamily="50" charset="-127"/>
                <a:ea typeface="나눔스퀘어라운드 ExtraBold" pitchFamily="50" charset="-127"/>
              </a:rPr>
              <a:t>(</a:t>
            </a:r>
            <a:r>
              <a:rPr lang="ko-KR" altLang="en-US" sz="900" dirty="0">
                <a:latin typeface="나눔스퀘어라운드 ExtraBold" pitchFamily="50" charset="-127"/>
                <a:ea typeface="나눔스퀘어라운드 ExtraBold" pitchFamily="50" charset="-127"/>
              </a:rPr>
              <a:t>언</a:t>
            </a:r>
            <a:r>
              <a:rPr lang="en-US" altLang="ko-KR" sz="900" dirty="0"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의 </a:t>
            </a:r>
            <a:r>
              <a:rPr lang="ko-KR" altLang="en-US" sz="20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美</a:t>
            </a:r>
          </a:p>
        </p:txBody>
      </p:sp>
      <p:sp>
        <p:nvSpPr>
          <p:cNvPr id="5" name="TextBox 4"/>
          <p:cNvSpPr txBox="1"/>
          <p:nvPr>
            <p:custDataLst>
              <p:tags r:id="rId5"/>
            </p:custDataLst>
          </p:nvPr>
        </p:nvSpPr>
        <p:spPr>
          <a:xfrm>
            <a:off x="971600" y="1786702"/>
            <a:ext cx="767665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200" dirty="0">
                <a:latin typeface="나눔스퀘어라운드 ExtraBold" pitchFamily="50" charset="-127"/>
                <a:ea typeface="나눔스퀘어라운드 ExtraBold" pitchFamily="50" charset="-127"/>
              </a:rPr>
              <a:t>Data Mining Final Round presentation</a:t>
            </a:r>
            <a:endParaRPr lang="ko-KR" altLang="en-US" sz="3200" dirty="0"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pic>
        <p:nvPicPr>
          <p:cNvPr id="17" name="그림 16"/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27241" b="62214" l="6250" r="94219">
                        <a14:foregroundMark x1="74219" y1="42794" x2="74219" y2="42794"/>
                        <a14:foregroundMark x1="84063" y1="50088" x2="83438" y2="50439"/>
                        <a14:foregroundMark x1="88125" y1="44025" x2="88125" y2="44025"/>
                        <a14:foregroundMark x1="87031" y1="56942" x2="87031" y2="56942"/>
                        <a14:foregroundMark x1="77188" y1="59315" x2="77188" y2="59315"/>
                        <a14:foregroundMark x1="72969" y1="35237" x2="72969" y2="35237"/>
                        <a14:foregroundMark x1="62813" y1="38489" x2="62813" y2="38489"/>
                        <a14:foregroundMark x1="53438" y1="31019" x2="53438" y2="31019"/>
                        <a14:foregroundMark x1="47031" y1="37346" x2="47031" y2="37346"/>
                        <a14:foregroundMark x1="35938" y1="35589" x2="35938" y2="35589"/>
                        <a14:foregroundMark x1="32813" y1="45167" x2="32813" y2="45167"/>
                        <a14:foregroundMark x1="19531" y1="43234" x2="19531" y2="43234"/>
                        <a14:foregroundMark x1="15000" y1="49209" x2="15000" y2="49209"/>
                        <a14:foregroundMark x1="15625" y1="57469" x2="15625" y2="57469"/>
                        <a14:foregroundMark x1="24531" y1="60457" x2="24531" y2="60457"/>
                        <a14:backgroundMark x1="47656" y1="55448" x2="47656" y2="55448"/>
                        <a14:backgroundMark x1="31719" y1="51318" x2="31719" y2="51318"/>
                        <a14:backgroundMark x1="56563" y1="52460" x2="55469" y2="53076"/>
                        <a14:backgroundMark x1="68594" y1="52197" x2="68594" y2="52197"/>
                        <a14:backgroundMark x1="53438" y1="60457" x2="53438" y2="60457"/>
                        <a14:backgroundMark x1="35938" y1="56327" x2="35938" y2="56327"/>
                        <a14:backgroundMark x1="52188" y1="47364" x2="52188" y2="47364"/>
                        <a14:backgroundMark x1="42500" y1="45431" x2="42500" y2="45431"/>
                        <a14:backgroundMark x1="32813" y1="51933" x2="32813" y2="51933"/>
                        <a14:backgroundMark x1="42500" y1="52460" x2="42500" y2="52460"/>
                        <a14:backgroundMark x1="53906" y1="50439" x2="53906" y2="50439"/>
                        <a14:backgroundMark x1="62656" y1="50264" x2="62656" y2="50264"/>
                        <a14:backgroundMark x1="57656" y1="47276" x2="57656" y2="47276"/>
                        <a14:backgroundMark x1="59688" y1="55185" x2="59688" y2="55185"/>
                        <a14:backgroundMark x1="53438" y1="54833" x2="53438" y2="54833"/>
                        <a14:backgroundMark x1="50781" y1="56854" x2="50781" y2="56854"/>
                        <a14:backgroundMark x1="46094" y1="58963" x2="46094" y2="58963"/>
                        <a14:backgroundMark x1="41406" y1="53076" x2="41406" y2="53076"/>
                        <a14:backgroundMark x1="42656" y1="48770" x2="42656" y2="48770"/>
                        <a14:backgroundMark x1="35781" y1="51845" x2="35781" y2="51845"/>
                        <a14:backgroundMark x1="39375" y1="47803" x2="39375" y2="47803"/>
                        <a14:backgroundMark x1="48529" y1="43893" x2="48529" y2="44812"/>
                        <a14:backgroundMark x1="70261" y1="54545" x2="70261" y2="54545"/>
                        <a14:backgroundMark x1="67157" y1="55647" x2="66176" y2="55831"/>
                        <a14:backgroundMark x1="70588" y1="51331" x2="70588" y2="51331"/>
                        <a14:backgroundMark x1="68137" y1="57759" x2="68137" y2="577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042" t="27657" r="5835" b="37375"/>
          <a:stretch/>
        </p:blipFill>
        <p:spPr>
          <a:xfrm>
            <a:off x="3455392" y="3354757"/>
            <a:ext cx="2245200" cy="1584176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4832" b="96008" l="4399" r="97654">
                        <a14:foregroundMark x1="41056" y1="29202" x2="41056" y2="29202"/>
                        <a14:foregroundMark x1="63930" y1="23109" x2="63930" y2="23109"/>
                        <a14:foregroundMark x1="53666" y1="22479" x2="53666" y2="22479"/>
                        <a14:foregroundMark x1="85630" y1="78782" x2="85630" y2="78782"/>
                        <a14:foregroundMark x1="75953" y1="79412" x2="75953" y2="79412"/>
                        <a14:foregroundMark x1="48974" y1="93908" x2="48974" y2="93908"/>
                        <a14:foregroundMark x1="55718" y1="94328" x2="55718" y2="94328"/>
                        <a14:foregroundMark x1="80059" y1="38866" x2="80059" y2="38866"/>
                        <a14:foregroundMark x1="80059" y1="79202" x2="80059" y2="79202"/>
                        <a14:foregroundMark x1="82727" y1="17787" x2="82727" y2="17787"/>
                        <a14:foregroundMark x1="73939" y1="14317" x2="73939" y2="14317"/>
                        <a14:foregroundMark x1="87273" y1="21909" x2="87273" y2="21909"/>
                        <a14:foregroundMark x1="89697" y1="27766" x2="89697" y2="27766"/>
                        <a14:foregroundMark x1="70303" y1="14317" x2="70303" y2="14317"/>
                        <a14:foregroundMark x1="76970" y1="13883" x2="76970" y2="13883"/>
                        <a14:foregroundMark x1="83333" y1="16486" x2="83333" y2="16486"/>
                        <a14:foregroundMark x1="86364" y1="20607" x2="86364" y2="2060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391" y="3861048"/>
            <a:ext cx="1375817" cy="1920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529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819575" y="2356734"/>
            <a:ext cx="756084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-                     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Private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SMOTE          :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8379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0.70598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1616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0.71711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-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SMOTE         : 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</a:t>
            </a:r>
            <a:r>
              <a:rPr lang="ko-KR" altLang="en-US" sz="1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오래걸리고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메모리 오류로 진행이 어려웠음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15269655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382958FB-6F03-41A7-B776-D8AD9632EEE7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t="11647" b="18450"/>
          <a:stretch/>
        </p:blipFill>
        <p:spPr>
          <a:xfrm>
            <a:off x="3419872" y="2049995"/>
            <a:ext cx="4104456" cy="2063081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429EEC01-92DE-4202-A400-6538A19F22AD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t="3331" r="1963"/>
          <a:stretch/>
        </p:blipFill>
        <p:spPr>
          <a:xfrm>
            <a:off x="1331640" y="4304691"/>
            <a:ext cx="6646800" cy="190821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9A700FF-4636-493D-8BBD-5D5250D4501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71600" y="2174087"/>
            <a:ext cx="388843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SMOTE         </a:t>
            </a:r>
          </a:p>
          <a:p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4566113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819575" y="2356734"/>
            <a:ext cx="7560840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-                     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Private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SMOTE          :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8379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0.70598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1616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0.71711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-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SMOTE         :  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진행 안함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                                                                                                                                     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</a:t>
            </a:r>
            <a:r>
              <a:rPr lang="ko-KR" altLang="en-US" sz="1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오래걸리고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메모리 오류로 진행이 어려웠음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1672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0.7250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39094411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1081499" y="2587874"/>
            <a:ext cx="756084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9 :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수치형 데이터 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ex,</a:t>
            </a:r>
            <a:r>
              <a:rPr lang="ko-KR" altLang="en-US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평균구매액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내점일수</a:t>
            </a:r>
            <a:r>
              <a:rPr lang="en-US" altLang="ko-KR" sz="1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가지고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oly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-&gt; 0. 63513</a:t>
            </a:r>
          </a:p>
          <a:p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0 : </a:t>
            </a:r>
            <a:r>
              <a:rPr lang="ko-KR" altLang="en-US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원핫인코딩한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변수들 가지고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 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word2vec 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-&gt;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442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33811863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8" name="think-cell Slide" r:id="rId13" imgW="493" imgH="493" progId="TCLayout.ActiveDocument.1">
                  <p:embed/>
                </p:oleObj>
              </mc:Choice>
              <mc:Fallback>
                <p:oleObj name="think-cell Slide" r:id="rId13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899592" y="2373860"/>
            <a:ext cx="7560840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2 : 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</a:t>
            </a:r>
            <a:r>
              <a:rPr lang="ko-KR" altLang="en-US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조의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    +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우리 변수 중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56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 선출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1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                 Private  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-&gt; SMOTE         :  0.70598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9816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  0.71711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108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60D4381-9B13-4647-A63A-FBD12ED632E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949606" y="5085737"/>
            <a:ext cx="75608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Imbalanced X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: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2706 </a:t>
            </a:r>
            <a:r>
              <a:rPr lang="en-US" altLang="ko-KR" sz="3200" dirty="0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0.71706</a:t>
            </a:r>
          </a:p>
        </p:txBody>
      </p:sp>
    </p:spTree>
    <p:extLst>
      <p:ext uri="{BB962C8B-B14F-4D97-AF65-F5344CB8AC3E}">
        <p14:creationId xmlns:p14="http://schemas.microsoft.com/office/powerpoint/2010/main" val="2043638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17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971600" y="2348880"/>
            <a:ext cx="72008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지금까지 만든 </a:t>
            </a:r>
            <a:r>
              <a:rPr lang="en-US" altLang="ko-KR" sz="2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</a:t>
            </a:r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중 </a:t>
            </a:r>
            <a:r>
              <a:rPr lang="en-US" altLang="ko-KR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</a:t>
            </a:r>
            <a:r>
              <a:rPr lang="ko-KR" altLang="en-US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 파일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가지고 앙상블</a:t>
            </a:r>
            <a:endParaRPr lang="en-US" altLang="ko-KR" sz="2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2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2 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임밸런스 처리 없이 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mean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Voting</a:t>
            </a:r>
          </a:p>
          <a:p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때까지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</a:t>
            </a:r>
            <a:r>
              <a:rPr lang="en-US" altLang="ko-KR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값이 나오지 않아서 함께 앙상블 못함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ivate : 0.72016  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 : 0.7168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7008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앙상블</a:t>
            </a:r>
          </a:p>
        </p:txBody>
      </p:sp>
    </p:spTree>
    <p:extLst>
      <p:ext uri="{BB962C8B-B14F-4D97-AF65-F5344CB8AC3E}">
        <p14:creationId xmlns:p14="http://schemas.microsoft.com/office/powerpoint/2010/main" val="26276710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9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17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971600" y="2348880"/>
            <a:ext cx="72008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지금까지 만든 </a:t>
            </a:r>
            <a:r>
              <a:rPr lang="en-US" altLang="ko-KR" sz="2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</a:t>
            </a:r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중 </a:t>
            </a:r>
            <a:r>
              <a:rPr lang="en-US" altLang="ko-KR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</a:t>
            </a:r>
            <a:r>
              <a:rPr lang="ko-KR" altLang="en-US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 파일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가지고 앙상블</a:t>
            </a:r>
            <a:endParaRPr lang="en-US" altLang="ko-KR" sz="2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2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2  </a:t>
            </a:r>
            <a:r>
              <a:rPr lang="ko-KR" altLang="en-US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임벨런스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처리 없이 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mean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Voting</a:t>
            </a:r>
          </a:p>
          <a:p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때까지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</a:t>
            </a:r>
            <a:r>
              <a:rPr lang="en-US" altLang="ko-KR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값이 나오지 않아서 함께 앙상블 못함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ivate : 0.72016  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 : 0.7168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7008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앙상블</a:t>
            </a:r>
          </a:p>
        </p:txBody>
      </p:sp>
    </p:spTree>
    <p:extLst>
      <p:ext uri="{BB962C8B-B14F-4D97-AF65-F5344CB8AC3E}">
        <p14:creationId xmlns:p14="http://schemas.microsoft.com/office/powerpoint/2010/main" val="15013146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17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967595" y="2210585"/>
            <a:ext cx="720080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지금까지 만든 </a:t>
            </a:r>
            <a:r>
              <a:rPr lang="en-US" altLang="ko-KR" sz="2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</a:t>
            </a:r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중 </a:t>
            </a:r>
            <a:r>
              <a:rPr lang="en-US" altLang="ko-KR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</a:t>
            </a:r>
            <a:r>
              <a:rPr lang="ko-KR" altLang="en-US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 파일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가지고 앙상블</a:t>
            </a:r>
            <a:endParaRPr lang="en-US" altLang="ko-KR" sz="2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2  </a:t>
            </a:r>
            <a:r>
              <a:rPr lang="ko-KR" altLang="en-US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임벨런스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처리 없이 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mean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Voting</a:t>
            </a: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&amp; 2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때까지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</a:t>
            </a:r>
            <a:r>
              <a:rPr lang="en-US" altLang="ko-KR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값이 나오지 않아서 함께 앙상블 못함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ivate : 0.72643  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 : 0.7212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7008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앙상블</a:t>
            </a:r>
          </a:p>
        </p:txBody>
      </p:sp>
    </p:spTree>
    <p:extLst>
      <p:ext uri="{BB962C8B-B14F-4D97-AF65-F5344CB8AC3E}">
        <p14:creationId xmlns:p14="http://schemas.microsoft.com/office/powerpoint/2010/main" val="16199267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Slide" r:id="rId14" imgW="493" imgH="493" progId="TCLayout.ActiveDocument.1">
                  <p:embed/>
                </p:oleObj>
              </mc:Choice>
              <mc:Fallback>
                <p:oleObj name="think-cell Slide" r:id="rId14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17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967595" y="2210585"/>
            <a:ext cx="720080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지금까지 만든 </a:t>
            </a:r>
            <a:r>
              <a:rPr lang="en-US" altLang="ko-KR" sz="2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</a:t>
            </a:r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중 </a:t>
            </a:r>
            <a:r>
              <a:rPr lang="en-US" altLang="ko-KR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</a:t>
            </a:r>
            <a:r>
              <a:rPr lang="ko-KR" altLang="en-US" sz="24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 파일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가지고 앙상블</a:t>
            </a:r>
            <a:endParaRPr lang="en-US" altLang="ko-KR" sz="24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2  </a:t>
            </a:r>
            <a:r>
              <a:rPr lang="ko-KR" altLang="en-US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임벨런스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처리 없이 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mean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Voting</a:t>
            </a:r>
          </a:p>
          <a:p>
            <a:pPr marL="457200" indent="-457200">
              <a:buAutoNum type="arabicPeriod" startAt="2"/>
            </a:pP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&amp; 2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때까지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</a:t>
            </a:r>
            <a:r>
              <a:rPr lang="en-US" altLang="ko-KR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값이 나오지 않아서 함께 앙상블 못함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ivate : 0.72643  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 : 0.7212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7008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앙상블</a:t>
            </a:r>
          </a:p>
        </p:txBody>
      </p:sp>
      <p:grpSp>
        <p:nvGrpSpPr>
          <p:cNvPr id="4" name="그룹 3">
            <a:extLst>
              <a:ext uri="{FF2B5EF4-FFF2-40B4-BE49-F238E27FC236}">
                <a16:creationId xmlns:a16="http://schemas.microsoft.com/office/drawing/2014/main" id="{7577972E-0E13-4F8F-A93A-9EB699156791}"/>
              </a:ext>
            </a:extLst>
          </p:cNvPr>
          <p:cNvGrpSpPr/>
          <p:nvPr/>
        </p:nvGrpSpPr>
        <p:grpSpPr>
          <a:xfrm>
            <a:off x="1043608" y="4653136"/>
            <a:ext cx="5454968" cy="504056"/>
            <a:chOff x="1043608" y="4653136"/>
            <a:chExt cx="5454968" cy="504056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FF680F6D-3FCA-4442-AF17-4355F2AD0C5A}"/>
                </a:ext>
              </a:extLst>
            </p:cNvPr>
            <p:cNvSpPr txBox="1"/>
            <p:nvPr/>
          </p:nvSpPr>
          <p:spPr>
            <a:xfrm>
              <a:off x="1043608" y="4653136"/>
              <a:ext cx="3076442" cy="504056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endParaRPr lang="ko-KR" altLang="en-US" dirty="0"/>
            </a:p>
          </p:txBody>
        </p:sp>
        <p:sp>
          <p:nvSpPr>
            <p:cNvPr id="3" name="화살표: 오른쪽 2">
              <a:extLst>
                <a:ext uri="{FF2B5EF4-FFF2-40B4-BE49-F238E27FC236}">
                  <a16:creationId xmlns:a16="http://schemas.microsoft.com/office/drawing/2014/main" id="{E1FE51E3-3415-4A12-99B2-C08CCDCDC278}"/>
                </a:ext>
              </a:extLst>
            </p:cNvPr>
            <p:cNvSpPr/>
            <p:nvPr/>
          </p:nvSpPr>
          <p:spPr>
            <a:xfrm>
              <a:off x="4324702" y="4761148"/>
              <a:ext cx="504056" cy="288032"/>
            </a:xfrm>
            <a:prstGeom prst="rightArrow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85A1EA5-B156-413E-912C-9EF458EE113C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4990787" y="4695527"/>
              <a:ext cx="150778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400" dirty="0">
                  <a:solidFill>
                    <a:srgbClr val="FFCC0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0.72838</a:t>
              </a:r>
              <a:endPara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6DA579EF-6D2B-46C0-9272-E1EAB1A25F96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275856" y="954395"/>
            <a:ext cx="54005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“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지금 앙상블한 </a:t>
            </a:r>
            <a:r>
              <a:rPr lang="ko-KR" altLang="en-US" sz="2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값들간의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400" dirty="0">
                <a:solidFill>
                  <a:srgbClr val="FF0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유사도가 높아서 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 했을 때</a:t>
            </a:r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오히려 값이 </a:t>
            </a:r>
            <a:r>
              <a:rPr lang="ko-KR" altLang="en-US" sz="24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않좋구나</a:t>
            </a:r>
            <a:r>
              <a:rPr lang="en-US" altLang="ko-KR" sz="24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!”</a:t>
            </a:r>
            <a:endParaRPr lang="en-US" altLang="ko-KR" sz="3200" dirty="0">
              <a:solidFill>
                <a:srgbClr val="FFCC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525294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17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967595" y="1974029"/>
            <a:ext cx="7200800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ower mean (</a:t>
            </a:r>
            <a:r>
              <a:rPr lang="ko-KR" altLang="en-US" sz="3200" dirty="0" err="1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멱평균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.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2  </a:t>
            </a:r>
            <a:r>
              <a:rPr lang="ko-KR" altLang="en-US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임벨런스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처리 없이 앙상블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</a:t>
            </a:r>
            <a:r>
              <a:rPr lang="en-US" altLang="ko-KR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mean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Voting</a:t>
            </a:r>
          </a:p>
          <a:p>
            <a:pPr marL="457200" indent="-457200">
              <a:buAutoNum type="arabicPeriod" startAt="2"/>
            </a:pP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&amp; 2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앙상블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457200" indent="-457200">
              <a:buAutoNum type="arabicPeriod" startAt="2"/>
            </a:pPr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ivate : 0.73282    </a:t>
            </a:r>
            <a:r>
              <a:rPr lang="en-US" altLang="ko-KR" sz="32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 : 0.72461</a:t>
            </a:r>
          </a:p>
          <a:p>
            <a:r>
              <a:rPr lang="en-US" altLang="ko-KR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</a:t>
            </a:r>
            <a:r>
              <a:rPr lang="ko-KR" altLang="en-US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최적의 </a:t>
            </a:r>
            <a:r>
              <a:rPr lang="en-US" altLang="ko-KR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</a:t>
            </a:r>
            <a:r>
              <a:rPr lang="ko-KR" altLang="en-US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를 </a:t>
            </a:r>
            <a:r>
              <a:rPr lang="ko-KR" altLang="en-US" sz="16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찾기위해</a:t>
            </a:r>
            <a:r>
              <a:rPr lang="ko-KR" altLang="en-US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상하로 조정하였으나</a:t>
            </a:r>
            <a:r>
              <a:rPr lang="en-US" altLang="ko-KR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교수님이 주신 </a:t>
            </a:r>
            <a:r>
              <a:rPr lang="en-US" altLang="ko-KR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.56</a:t>
            </a:r>
            <a:r>
              <a:rPr lang="ko-KR" altLang="en-US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 최고</a:t>
            </a:r>
            <a:r>
              <a:rPr lang="en-US" altLang="ko-KR" sz="16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72E88E-6E37-4E24-97BC-E91DD78F0FD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7008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앙상블</a:t>
            </a:r>
          </a:p>
        </p:txBody>
      </p:sp>
    </p:spTree>
    <p:extLst>
      <p:ext uri="{BB962C8B-B14F-4D97-AF65-F5344CB8AC3E}">
        <p14:creationId xmlns:p14="http://schemas.microsoft.com/office/powerpoint/2010/main" val="23792433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45927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7107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1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사용한 모델</a:t>
            </a:r>
          </a:p>
        </p:txBody>
      </p:sp>
      <p:cxnSp>
        <p:nvCxnSpPr>
          <p:cNvPr id="19" name="직선 연결선 18"/>
          <p:cNvCxnSpPr/>
          <p:nvPr>
            <p:custDataLst>
              <p:tags r:id="rId5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모서리가 둥근 직사각형 21"/>
          <p:cNvSpPr/>
          <p:nvPr>
            <p:custDataLst>
              <p:tags r:id="rId6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0" name="직선 연결선 19"/>
          <p:cNvCxnSpPr/>
          <p:nvPr>
            <p:custDataLst>
              <p:tags r:id="rId7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그림 3"/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39279" b="82953" l="24219" r="7437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742" t="38868" r="23250" b="17784"/>
          <a:stretch/>
        </p:blipFill>
        <p:spPr>
          <a:xfrm>
            <a:off x="7596336" y="4909295"/>
            <a:ext cx="1337073" cy="1944216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1251274" y="2373561"/>
            <a:ext cx="141307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dirty="0">
                <a:solidFill>
                  <a:srgbClr val="6633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XGB</a:t>
            </a:r>
            <a:endParaRPr lang="ko-KR" altLang="en-US" sz="4800" dirty="0">
              <a:solidFill>
                <a:srgbClr val="6633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310239" y="3497379"/>
            <a:ext cx="323518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Light GBM</a:t>
            </a:r>
            <a:endParaRPr lang="ko-KR" altLang="en-US" sz="4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25" name="TextBox 24"/>
          <p:cNvSpPr txBox="1"/>
          <p:nvPr>
            <p:custDataLst>
              <p:tags r:id="rId9"/>
            </p:custDataLst>
          </p:nvPr>
        </p:nvSpPr>
        <p:spPr>
          <a:xfrm>
            <a:off x="1304652" y="4633883"/>
            <a:ext cx="558210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4800" dirty="0">
                <a:solidFill>
                  <a:srgbClr val="FFCC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radient Boosting</a:t>
            </a:r>
            <a:endParaRPr lang="ko-KR" altLang="en-US" sz="4800" dirty="0">
              <a:solidFill>
                <a:srgbClr val="FFCC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31A42A-B55F-43FC-A1C5-5FB6A42E512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87624" y="1297305"/>
            <a:ext cx="9717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모델 선정</a:t>
            </a:r>
          </a:p>
        </p:txBody>
      </p:sp>
    </p:spTree>
    <p:extLst>
      <p:ext uri="{BB962C8B-B14F-4D97-AF65-F5344CB8AC3E}">
        <p14:creationId xmlns:p14="http://schemas.microsoft.com/office/powerpoint/2010/main" val="24731496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19" imgW="493" imgH="493" progId="TCLayout.ActiveDocument.1">
                  <p:embed/>
                </p:oleObj>
              </mc:Choice>
              <mc:Fallback>
                <p:oleObj name="think-cell Slide" r:id="rId19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6674" y="-18395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9444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결론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21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18C2EE-3247-48D0-A790-66EF4C31FC7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87624" y="1297305"/>
            <a:ext cx="9813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과정 정리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C5A80BAC-7E27-4A71-B315-512671444841}"/>
              </a:ext>
            </a:extLst>
          </p:cNvPr>
          <p:cNvGrpSpPr/>
          <p:nvPr/>
        </p:nvGrpSpPr>
        <p:grpSpPr>
          <a:xfrm>
            <a:off x="1051896" y="2135414"/>
            <a:ext cx="7032198" cy="3700435"/>
            <a:chOff x="1144206" y="2327455"/>
            <a:chExt cx="7032198" cy="3700435"/>
          </a:xfrm>
        </p:grpSpPr>
        <p:sp>
          <p:nvSpPr>
            <p:cNvPr id="27" name="TextBox 26"/>
            <p:cNvSpPr txBox="1"/>
            <p:nvPr>
              <p:custDataLst>
                <p:tags r:id="rId10"/>
              </p:custDataLst>
            </p:nvPr>
          </p:nvSpPr>
          <p:spPr>
            <a:xfrm>
              <a:off x="1260581" y="2327455"/>
              <a:ext cx="12241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Data set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30149F2-5A0D-46C6-A3C3-3EC146D4C199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2936006" y="2327455"/>
              <a:ext cx="1512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Imbalanced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DA88E69-B08E-49D4-84C4-6D8BA7B7FEF7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644008" y="2327455"/>
              <a:ext cx="1512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Model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F3949A3-B166-474D-8DBF-2A75A4CAB87B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6450085" y="2327455"/>
              <a:ext cx="1512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Ensemble</a:t>
              </a:r>
            </a:p>
          </p:txBody>
        </p:sp>
        <p:sp>
          <p:nvSpPr>
            <p:cNvPr id="17" name="모서리가 둥근 직사각형 25">
              <a:extLst>
                <a:ext uri="{FF2B5EF4-FFF2-40B4-BE49-F238E27FC236}">
                  <a16:creationId xmlns:a16="http://schemas.microsoft.com/office/drawing/2014/main" id="{C27E92FC-2979-4BF2-A651-DB1EAC1376A4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1144206" y="2851412"/>
              <a:ext cx="1494233" cy="3176478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Pred1</a:t>
              </a: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.</a:t>
              </a: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.</a:t>
              </a: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.</a:t>
              </a: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.</a:t>
              </a: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pred12</a:t>
              </a:r>
              <a:endParaRPr lang="ko-KR" altLang="en-US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</p:txBody>
        </p:sp>
        <p:sp>
          <p:nvSpPr>
            <p:cNvPr id="18" name="모서리가 둥근 직사각형 25">
              <a:extLst>
                <a:ext uri="{FF2B5EF4-FFF2-40B4-BE49-F238E27FC236}">
                  <a16:creationId xmlns:a16="http://schemas.microsoft.com/office/drawing/2014/main" id="{ED7CBEDB-6A4D-49FF-A97C-C10385A8DFF6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2932352" y="2851412"/>
              <a:ext cx="1543522" cy="3176478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X</a:t>
              </a:r>
            </a:p>
            <a:p>
              <a:pPr algn="ctr"/>
              <a:endParaRPr lang="en-US" altLang="ko-KR" sz="2000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 err="1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TomekLink</a:t>
              </a:r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endParaRPr lang="en-US" altLang="ko-KR" sz="2400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SMOTE</a:t>
              </a:r>
            </a:p>
          </p:txBody>
        </p:sp>
        <p:sp>
          <p:nvSpPr>
            <p:cNvPr id="19" name="모서리가 둥근 직사각형 25">
              <a:extLst>
                <a:ext uri="{FF2B5EF4-FFF2-40B4-BE49-F238E27FC236}">
                  <a16:creationId xmlns:a16="http://schemas.microsoft.com/office/drawing/2014/main" id="{22EE24AF-33E8-407B-A609-7B684991EE64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4729836" y="2844196"/>
              <a:ext cx="1494233" cy="3176478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XGB</a:t>
              </a: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 err="1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LightGBM</a:t>
              </a:r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GBM</a:t>
              </a: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NN</a:t>
              </a: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CNN</a:t>
              </a:r>
              <a:endParaRPr lang="ko-KR" altLang="en-US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</p:txBody>
        </p:sp>
        <p:sp>
          <p:nvSpPr>
            <p:cNvPr id="20" name="모서리가 둥근 직사각형 25">
              <a:extLst>
                <a:ext uri="{FF2B5EF4-FFF2-40B4-BE49-F238E27FC236}">
                  <a16:creationId xmlns:a16="http://schemas.microsoft.com/office/drawing/2014/main" id="{513C74B9-63A0-4739-8A96-2DD242138482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6444207" y="2851412"/>
              <a:ext cx="1732197" cy="3176478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rgbClr val="66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dirty="0" err="1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Gmean</a:t>
              </a:r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Voting</a:t>
              </a:r>
            </a:p>
            <a:p>
              <a:pPr algn="ctr"/>
              <a:endParaRPr lang="en-US" altLang="ko-KR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  <a:p>
              <a:pPr algn="ctr"/>
              <a:r>
                <a:rPr lang="en-US" altLang="ko-KR" dirty="0" err="1">
                  <a:latin typeface="나눔스퀘어라운드 ExtraBold" panose="020B0600000101010101" pitchFamily="50" charset="-127"/>
                  <a:ea typeface="나눔스퀘어라운드 ExtraBold" panose="020B0600000101010101" pitchFamily="50" charset="-127"/>
                </a:rPr>
                <a:t>PowerMean</a:t>
              </a:r>
              <a:endParaRPr lang="ko-KR" altLang="en-US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endParaRPr>
            </a:p>
          </p:txBody>
        </p:sp>
      </p:grpSp>
      <p:pic>
        <p:nvPicPr>
          <p:cNvPr id="23" name="그림 22">
            <a:extLst>
              <a:ext uri="{FF2B5EF4-FFF2-40B4-BE49-F238E27FC236}">
                <a16:creationId xmlns:a16="http://schemas.microsoft.com/office/drawing/2014/main" id="{E28B8E7C-EC61-4C33-A777-21BCE06BE688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7474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6674" y="-18395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9444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결론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18C2EE-3247-48D0-A790-66EF4C31FC7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87624" y="1297305"/>
            <a:ext cx="5341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정리</a:t>
            </a:r>
          </a:p>
        </p:txBody>
      </p:sp>
      <p:pic>
        <p:nvPicPr>
          <p:cNvPr id="13" name="그림 12"/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37170F8-3B21-4A5F-8731-1864CB147A5B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27584" y="2527283"/>
            <a:ext cx="756084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. </a:t>
            </a:r>
            <a:r>
              <a:rPr lang="ko-KR" altLang="en-US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피쳐에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대한 이해가 중요함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임밸런스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</a:t>
            </a:r>
            <a:r>
              <a:rPr lang="ko-KR" altLang="en-US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피쳐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선택 등 다양한 데이터셋 생성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3. 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데이터간 유사도를 살펴 앙상블 하는 것이 중요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4. 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모든 과정에서 이루어진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A/B Test</a:t>
            </a:r>
          </a:p>
        </p:txBody>
      </p:sp>
    </p:spTree>
    <p:extLst>
      <p:ext uri="{BB962C8B-B14F-4D97-AF65-F5344CB8AC3E}">
        <p14:creationId xmlns:p14="http://schemas.microsoft.com/office/powerpoint/2010/main" val="21670384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14892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>
            <p:custDataLst>
              <p:tags r:id="rId3"/>
            </p:custDataLst>
          </p:nvPr>
        </p:nvSpPr>
        <p:spPr>
          <a:xfrm>
            <a:off x="3203848" y="3142944"/>
            <a:ext cx="400822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>
                <a:solidFill>
                  <a:srgbClr val="663300"/>
                </a:solidFill>
                <a:latin typeface="Cooper Black" pitchFamily="18" charset="0"/>
                <a:ea typeface="나눔스퀘어라운드 ExtraBold" pitchFamily="50" charset="-127"/>
              </a:rPr>
              <a:t>THANK YOU</a:t>
            </a:r>
            <a:endParaRPr lang="ko-KR" altLang="en-US" sz="4000" dirty="0">
              <a:solidFill>
                <a:srgbClr val="663300"/>
              </a:solidFill>
              <a:latin typeface="Cooper Black" pitchFamily="18" charset="0"/>
              <a:ea typeface="나눔스퀘어라운드 ExtraBold" pitchFamily="50" charset="-127"/>
            </a:endParaRPr>
          </a:p>
        </p:txBody>
      </p:sp>
      <p:sp>
        <p:nvSpPr>
          <p:cNvPr id="18" name="직사각형 17"/>
          <p:cNvSpPr/>
          <p:nvPr>
            <p:custDataLst>
              <p:tags r:id="rId4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7" name="그룹 6"/>
          <p:cNvGrpSpPr/>
          <p:nvPr/>
        </p:nvGrpSpPr>
        <p:grpSpPr>
          <a:xfrm>
            <a:off x="2039612" y="2616213"/>
            <a:ext cx="1411763" cy="1214407"/>
            <a:chOff x="1018819" y="2745267"/>
            <a:chExt cx="1584473" cy="1362973"/>
          </a:xfrm>
        </p:grpSpPr>
        <p:pic>
          <p:nvPicPr>
            <p:cNvPr id="4" name="그림 3"/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42954" b="76387" l="3200" r="47067">
                          <a14:backgroundMark x1="14800" y1="63793" x2="14800" y2="63793"/>
                          <a14:backgroundMark x1="13600" y1="63793" x2="13600" y2="63793"/>
                          <a14:backgroundMark x1="20800" y1="63943" x2="20800" y2="63943"/>
                          <a14:backgroundMark x1="14133" y1="64018" x2="14133" y2="64018"/>
                          <a14:backgroundMark x1="12933" y1="64018" x2="12933" y2="64018"/>
                          <a14:backgroundMark x1="10933" y1="63943" x2="11600" y2="63643"/>
                          <a14:backgroundMark x1="14133" y1="63493" x2="14133" y2="63493"/>
                          <a14:backgroundMark x1="16133" y1="63943" x2="16133" y2="63943"/>
                          <a14:backgroundMark x1="14533" y1="63118" x2="14533" y2="63118"/>
                          <a14:backgroundMark x1="11867" y1="63418" x2="11867" y2="63418"/>
                          <a14:backgroundMark x1="14267" y1="64393" x2="14933" y2="64543"/>
                          <a14:backgroundMark x1="17200" y1="63943" x2="17200" y2="6394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28" t="45541" r="51977" b="34585"/>
            <a:stretch/>
          </p:blipFill>
          <p:spPr>
            <a:xfrm>
              <a:off x="1018819" y="2745267"/>
              <a:ext cx="1584473" cy="1362973"/>
            </a:xfrm>
            <a:prstGeom prst="rect">
              <a:avLst/>
            </a:prstGeom>
          </p:spPr>
        </p:pic>
        <p:sp>
          <p:nvSpPr>
            <p:cNvPr id="5" name="타원 4"/>
            <p:cNvSpPr/>
            <p:nvPr/>
          </p:nvSpPr>
          <p:spPr>
            <a:xfrm>
              <a:off x="1259632" y="3872082"/>
              <a:ext cx="144016" cy="1751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5060884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/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  <p:sp>
        <p:nvSpPr>
          <p:cNvPr id="27" name="TextBox 26"/>
          <p:cNvSpPr txBox="1"/>
          <p:nvPr>
            <p:custDataLst>
              <p:tags r:id="rId9"/>
            </p:custDataLst>
          </p:nvPr>
        </p:nvSpPr>
        <p:spPr>
          <a:xfrm>
            <a:off x="1255627" y="1989706"/>
            <a:ext cx="6624736" cy="4246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라운드 이후 느낀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문제점</a:t>
            </a:r>
            <a:endParaRPr lang="en-US" altLang="ko-KR" sz="3200" dirty="0">
              <a:solidFill>
                <a:srgbClr val="FFC0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algn="ctr"/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데이터셋이 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개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ko-KR" altLang="en-US" sz="28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피쳐</a:t>
            </a: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수를 늘리는데 급급했음</a:t>
            </a:r>
            <a:endParaRPr lang="en-US" altLang="ko-KR" sz="2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모델 튜닝이 이뤄지지 않음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커널의 변수를 모두 활용하지 않음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  <a:p>
            <a:pPr marL="514350" indent="-514350">
              <a:lnSpc>
                <a:spcPct val="150000"/>
              </a:lnSpc>
              <a:buAutoNum type="arabicPeriod"/>
            </a:pPr>
            <a:r>
              <a:rPr lang="ko-KR" altLang="en-US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데이터에 대한 이해가 완전치 못함</a:t>
            </a:r>
            <a:r>
              <a:rPr lang="en-US" altLang="ko-KR" sz="28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D130124-3EB6-4918-8526-1C8D4F19EE5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13886616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451249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/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  <p:sp>
        <p:nvSpPr>
          <p:cNvPr id="27" name="TextBox 26"/>
          <p:cNvSpPr txBox="1"/>
          <p:nvPr>
            <p:custDataLst>
              <p:tags r:id="rId9"/>
            </p:custDataLst>
          </p:nvPr>
        </p:nvSpPr>
        <p:spPr>
          <a:xfrm>
            <a:off x="1133666" y="3175519"/>
            <a:ext cx="676875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“1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,2,3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변수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+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우리가 만든 변수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”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에서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랜덤 중복 추출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하여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pPr algn="ctr"/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6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개의 데이터셋을 만듦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D130124-3EB6-4918-8526-1C8D4F19EE5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13074388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13" imgW="493" imgH="493" progId="TCLayout.ActiveDocument.1">
                  <p:embed/>
                </p:oleObj>
              </mc:Choice>
              <mc:Fallback>
                <p:oleObj name="think-cell Slide" r:id="rId13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>
            <p:custDataLst>
              <p:tags r:id="rId6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  <p:cxnSp>
        <p:nvCxnSpPr>
          <p:cNvPr id="25" name="직선 연결선 24"/>
          <p:cNvCxnSpPr/>
          <p:nvPr>
            <p:custDataLst>
              <p:tags r:id="rId7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8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/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  <p:sp>
        <p:nvSpPr>
          <p:cNvPr id="27" name="TextBox 26"/>
          <p:cNvSpPr txBox="1"/>
          <p:nvPr>
            <p:custDataLst>
              <p:tags r:id="rId10"/>
            </p:custDataLst>
          </p:nvPr>
        </p:nvSpPr>
        <p:spPr>
          <a:xfrm>
            <a:off x="1835696" y="2122275"/>
            <a:ext cx="5688632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  Private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ublic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   0.70501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70300  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2   0.70684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9990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3   0.69042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9308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4    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NN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</a:t>
            </a:r>
            <a:r>
              <a:rPr lang="ko-KR" altLang="en-US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진행한거라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제출 안함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5   0.68594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8122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6   0.68401  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68825</a:t>
            </a:r>
          </a:p>
          <a:p>
            <a:pPr algn="ctr"/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778B04-FA6C-474D-BE39-3616B35571C2}"/>
              </a:ext>
            </a:extLst>
          </p:cNvPr>
          <p:cNvSpPr txBox="1"/>
          <p:nvPr/>
        </p:nvSpPr>
        <p:spPr>
          <a:xfrm>
            <a:off x="5292080" y="2636912"/>
            <a:ext cx="1728192" cy="576064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ko-KR" alt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A9A92F3-3A0C-4138-A1BD-1FFC17D9FEC0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727684" y="1215709"/>
            <a:ext cx="67687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200" dirty="0" err="1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Gmean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Ensemble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939739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/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  <p:sp>
        <p:nvSpPr>
          <p:cNvPr id="27" name="TextBox 26"/>
          <p:cNvSpPr txBox="1"/>
          <p:nvPr>
            <p:custDataLst>
              <p:tags r:id="rId9"/>
            </p:custDataLst>
          </p:nvPr>
        </p:nvSpPr>
        <p:spPr>
          <a:xfrm>
            <a:off x="1835696" y="2345208"/>
            <a:ext cx="5688632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1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변수가 무엇이길래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?</a:t>
            </a:r>
          </a:p>
          <a:p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때도 느꼈던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</a:p>
          <a:p>
            <a:endParaRPr lang="en-US" altLang="ko-KR" sz="8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40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Dummy PCA</a:t>
            </a:r>
            <a:r>
              <a:rPr lang="ko-KR" altLang="en-US" sz="4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와 </a:t>
            </a:r>
            <a:endParaRPr lang="en-US" altLang="ko-KR" sz="40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ko-KR" altLang="en-US" sz="40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치우친 데이터 </a:t>
            </a:r>
            <a:r>
              <a:rPr lang="en-US" altLang="ko-KR" sz="40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log</a:t>
            </a:r>
            <a:r>
              <a:rPr lang="ko-KR" altLang="en-US" sz="40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처리</a:t>
            </a:r>
            <a:r>
              <a:rPr lang="en-US" altLang="ko-KR" sz="4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!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01D316-BDD5-41A3-A95F-392631F25B1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3033520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1043608" y="2097139"/>
            <a:ext cx="756084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: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우리 변수 중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56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선출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+ log + dummy PCA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</a:t>
            </a:r>
            <a:r>
              <a: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+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연속변수 분할</a:t>
            </a:r>
            <a:r>
              <a: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변수 묶기 위해 필요한 </a:t>
            </a:r>
            <a:r>
              <a:rPr lang="ko-KR" altLang="en-US" sz="20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피쳐는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선택적 추가</a:t>
            </a:r>
            <a:endParaRPr lang="en-US" altLang="ko-KR" sz="20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: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조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변수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+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우리 변수 </a:t>
            </a:r>
            <a:endParaRPr lang="en-US" altLang="ko-KR" sz="3200" dirty="0">
              <a:solidFill>
                <a:srgbClr val="FFC0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+ log + dummy PCA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1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,3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변수는 모두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변수에 들어가 있어서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97F5FD-7A40-464F-954D-576EB461217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F8014888-CD79-4A8E-9735-1A19C6C32DA5}"/>
              </a:ext>
            </a:extLst>
          </p:cNvPr>
          <p:cNvGrpSpPr/>
          <p:nvPr/>
        </p:nvGrpSpPr>
        <p:grpSpPr>
          <a:xfrm>
            <a:off x="2693926" y="22992"/>
            <a:ext cx="4815203" cy="6858000"/>
            <a:chOff x="2693926" y="22992"/>
            <a:chExt cx="4815203" cy="6858000"/>
          </a:xfrm>
        </p:grpSpPr>
        <p:pic>
          <p:nvPicPr>
            <p:cNvPr id="12" name="그림 11">
              <a:extLst>
                <a:ext uri="{FF2B5EF4-FFF2-40B4-BE49-F238E27FC236}">
                  <a16:creationId xmlns:a16="http://schemas.microsoft.com/office/drawing/2014/main" id="{24C51AAB-2963-4A0D-9AD5-E80291A784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693926" y="22992"/>
              <a:ext cx="4026399" cy="6858000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95C0764-7417-4920-BE39-5385D08AEAAF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5220072" y="168896"/>
              <a:ext cx="2289057" cy="707886"/>
            </a:xfrm>
            <a:prstGeom prst="rect">
              <a:avLst/>
            </a:prstGeom>
            <a:noFill/>
            <a:ln>
              <a:solidFill>
                <a:srgbClr val="00206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ko-KR" altLang="en-US" sz="2000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변수 하나하나 마다 </a:t>
              </a:r>
              <a:endPara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endParaRPr>
            </a:p>
            <a:p>
              <a:r>
                <a:rPr lang="en-US" altLang="ko-KR" sz="2000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a/b Test </a:t>
              </a:r>
              <a:r>
                <a:rPr lang="ko-KR" altLang="en-US" sz="2000" dirty="0">
                  <a:solidFill>
                    <a:srgbClr val="002060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진행</a:t>
              </a:r>
              <a:endPara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3720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>
            <p:custDataLst>
              <p:tags r:id="rId8"/>
            </p:custDataLst>
          </p:nvPr>
        </p:nvSpPr>
        <p:spPr>
          <a:xfrm>
            <a:off x="1043608" y="2097139"/>
            <a:ext cx="756084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: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우리 변수 중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.56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이상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만 선출 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+ log + dummy PCA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</a:t>
            </a:r>
            <a:r>
              <a: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+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연속변수 분할</a:t>
            </a:r>
            <a:r>
              <a:rPr lang="en-US" altLang="ko-KR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, 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변수 묶기 위해 필요한 </a:t>
            </a:r>
            <a:r>
              <a:rPr lang="ko-KR" altLang="en-US" sz="20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피쳐는</a:t>
            </a:r>
            <a:r>
              <a:rPr lang="ko-KR" altLang="en-US" sz="20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선택적 추가</a:t>
            </a:r>
            <a:endParaRPr lang="en-US" altLang="ko-KR" sz="20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8 :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조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변수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+ </a:t>
            </a:r>
            <a:r>
              <a:rPr lang="ko-KR" altLang="en-US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우리 변수 </a:t>
            </a:r>
            <a:endParaRPr lang="en-US" altLang="ko-KR" sz="3200" dirty="0">
              <a:solidFill>
                <a:srgbClr val="FFC00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  + log + dummy PCA </a:t>
            </a: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(※ 1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,3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변수는 모두 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2</a:t>
            </a:r>
            <a:r>
              <a:rPr lang="ko-KR" altLang="en-US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변수에 들어가 있어서</a:t>
            </a:r>
            <a:r>
              <a:rPr lang="en-US" altLang="ko-KR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97F5FD-7A40-464F-954D-576EB461217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14618545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개체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think-cell Slide" r:id="rId13" imgW="493" imgH="493" progId="TCLayout.ActiveDocument.1">
                  <p:embed/>
                </p:oleObj>
              </mc:Choice>
              <mc:Fallback>
                <p:oleObj name="think-cell Slide" r:id="rId13" imgW="493" imgH="493" progId="TCLayout.ActiveDocument.1">
                  <p:embed/>
                  <p:pic>
                    <p:nvPicPr>
                      <p:cNvPr id="10" name="개체 9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/>
          <p:cNvSpPr/>
          <p:nvPr>
            <p:custDataLst>
              <p:tags r:id="rId3"/>
            </p:custDataLst>
          </p:nvPr>
        </p:nvSpPr>
        <p:spPr>
          <a:xfrm>
            <a:off x="35496" y="0"/>
            <a:ext cx="9073007" cy="6853511"/>
          </a:xfrm>
          <a:prstGeom prst="rect">
            <a:avLst/>
          </a:prstGeom>
          <a:noFill/>
          <a:ln w="127000">
            <a:solidFill>
              <a:srgbClr val="FF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467543" y="476672"/>
            <a:ext cx="15408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000" dirty="0">
                <a:latin typeface="나눔스퀘어라운드 ExtraBold" pitchFamily="50" charset="-127"/>
                <a:ea typeface="나눔스퀘어라운드 ExtraBold" pitchFamily="50" charset="-127"/>
              </a:rPr>
              <a:t>2. </a:t>
            </a:r>
            <a:r>
              <a:rPr lang="ko-KR" altLang="en-US" sz="2000" dirty="0">
                <a:latin typeface="나눔스퀘어라운드 ExtraBold" pitchFamily="50" charset="-127"/>
                <a:ea typeface="나눔스퀘어라운드 ExtraBold" pitchFamily="50" charset="-127"/>
              </a:rPr>
              <a:t>데이터 셋 </a:t>
            </a:r>
          </a:p>
        </p:txBody>
      </p:sp>
      <p:cxnSp>
        <p:nvCxnSpPr>
          <p:cNvPr id="22" name="직선 연결선 21"/>
          <p:cNvCxnSpPr/>
          <p:nvPr>
            <p:custDataLst>
              <p:tags r:id="rId5"/>
            </p:custDataLst>
          </p:nvPr>
        </p:nvCxnSpPr>
        <p:spPr>
          <a:xfrm>
            <a:off x="539552" y="836712"/>
            <a:ext cx="1866342" cy="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직선 연결선 24"/>
          <p:cNvCxnSpPr/>
          <p:nvPr>
            <p:custDataLst>
              <p:tags r:id="rId6"/>
            </p:custDataLst>
          </p:nvPr>
        </p:nvCxnSpPr>
        <p:spPr>
          <a:xfrm>
            <a:off x="1115616" y="1268760"/>
            <a:ext cx="0" cy="457200"/>
          </a:xfrm>
          <a:prstGeom prst="line">
            <a:avLst/>
          </a:prstGeom>
          <a:ln w="57150">
            <a:solidFill>
              <a:srgbClr val="66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모서리가 둥근 직사각형 25"/>
          <p:cNvSpPr/>
          <p:nvPr>
            <p:custDataLst>
              <p:tags r:id="rId7"/>
            </p:custDataLst>
          </p:nvPr>
        </p:nvSpPr>
        <p:spPr>
          <a:xfrm>
            <a:off x="755576" y="1844824"/>
            <a:ext cx="7624839" cy="4536504"/>
          </a:xfrm>
          <a:prstGeom prst="roundRect">
            <a:avLst/>
          </a:prstGeom>
          <a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3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381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/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9689" b="100000" l="21750" r="8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8" t="11624" r="18095"/>
          <a:stretch/>
        </p:blipFill>
        <p:spPr>
          <a:xfrm>
            <a:off x="7380312" y="5229200"/>
            <a:ext cx="1494233" cy="1584176"/>
          </a:xfrm>
          <a:prstGeom prst="rect">
            <a:avLst/>
          </a:prstGeom>
        </p:spPr>
      </p:pic>
      <p:sp>
        <p:nvSpPr>
          <p:cNvPr id="27" name="TextBox 26"/>
          <p:cNvSpPr txBox="1"/>
          <p:nvPr>
            <p:custDataLst>
              <p:tags r:id="rId9"/>
            </p:custDataLst>
          </p:nvPr>
        </p:nvSpPr>
        <p:spPr>
          <a:xfrm>
            <a:off x="1066640" y="2420888"/>
            <a:ext cx="756084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Pred7 &amp; Pred8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에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차 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1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등 조 기법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en-US" altLang="ko-KR" sz="3200" dirty="0">
                <a:solidFill>
                  <a:srgbClr val="FFC00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“ Imbalanced data”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처리를 함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!</a:t>
            </a:r>
          </a:p>
          <a:p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-&gt; 1. SMOTE  2. </a:t>
            </a:r>
            <a:r>
              <a:rPr lang="en-US" altLang="ko-KR" sz="3200" dirty="0" err="1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TomekLink</a:t>
            </a:r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</a:t>
            </a:r>
            <a:r>
              <a:rPr lang="ko-KR" altLang="en-US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사용</a:t>
            </a:r>
            <a:endParaRPr lang="en-US" altLang="ko-KR" sz="3200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  <a:p>
            <a:r>
              <a:rPr lang="en-US" altLang="ko-KR" sz="3200" dirty="0">
                <a:solidFill>
                  <a:srgbClr val="002060"/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           </a:t>
            </a:r>
            <a:endParaRPr lang="en-US" altLang="ko-KR" dirty="0">
              <a:solidFill>
                <a:srgbClr val="002060"/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2CC9C9-7560-487C-95DF-99CDE2995BE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87624" y="1297305"/>
            <a:ext cx="13484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000" dirty="0">
                <a:latin typeface="배달의민족 연성" panose="020B0600000101010101" pitchFamily="50" charset="-127"/>
                <a:ea typeface="배달의민족 연성" panose="020B0600000101010101" pitchFamily="50" charset="-127"/>
              </a:rPr>
              <a:t>데이터셋 생성</a:t>
            </a:r>
          </a:p>
        </p:txBody>
      </p:sp>
    </p:spTree>
    <p:extLst>
      <p:ext uri="{BB962C8B-B14F-4D97-AF65-F5344CB8AC3E}">
        <p14:creationId xmlns:p14="http://schemas.microsoft.com/office/powerpoint/2010/main" val="5024712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nz3CAVyEOYQPNbVp1.p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vtCX0bB0iX6eAclbpX3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dd4cXKIkGw6E0Gfrl.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Su8qdjOEuQQ9Lm9gd_d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tz.RZd0kmFz8esmVbMt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5vY5wrBU.YQIT4o8IC9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ihYIOZYUe2Y4hUHbyn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5vY5wrBU.YQIT4o8IC9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QLdYuZkKh6jkwBFPJn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HtQGzeOUqtJMGyDo8o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PP2moH50iQ3NKSf3.kB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Tj_VGoyk6ltlM5tuiOW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7BZzUYU2qylWFqmvQ3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Ck1G41028hISa55SHj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2dtHkmkuiJ6yW_llc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iAjyljG0OYJqsmzae6E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SeNA9oZUyBhLkKkusoW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3_W2WbkWxU.By9mhyZ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fb.bmsSUGljrZ4LS0AE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V2mmtdS0Oe0XGSmvXCc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62</Words>
  <Application>Microsoft Office PowerPoint</Application>
  <PresentationFormat>화면 슬라이드 쇼(4:3)</PresentationFormat>
  <Paragraphs>230</Paragraphs>
  <Slides>22</Slides>
  <Notes>7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2</vt:i4>
      </vt:variant>
    </vt:vector>
  </HeadingPairs>
  <TitlesOfParts>
    <vt:vector size="29" baseType="lpstr">
      <vt:lpstr>나눔스퀘어라운드 ExtraBold</vt:lpstr>
      <vt:lpstr>맑은 고딕</vt:lpstr>
      <vt:lpstr>배달의민족 연성</vt:lpstr>
      <vt:lpstr>Arial</vt:lpstr>
      <vt:lpstr>Cooper Black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/>
  <cp:lastModifiedBy/>
  <cp:revision>17</cp:revision>
  <dcterms:created xsi:type="dcterms:W3CDTF">2019-03-19T07:58:16Z</dcterms:created>
  <dcterms:modified xsi:type="dcterms:W3CDTF">2019-06-02T18:07:58Z</dcterms:modified>
</cp:coreProperties>
</file>